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147377192" r:id="rId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4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7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image" Target="../media/image1.emf"/><Relationship Id="rId5" Type="http://schemas.openxmlformats.org/officeDocument/2006/relationships/tags" Target="../tags/tag4.xml"/><Relationship Id="rId10" Type="http://schemas.openxmlformats.org/officeDocument/2006/relationships/oleObject" Target="../embeddings/oleObject1.bin"/><Relationship Id="rId4" Type="http://schemas.openxmlformats.org/officeDocument/2006/relationships/tags" Target="../tags/tag3.xml"/><Relationship Id="rId9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355268F-DE6F-4065-8C05-D6F5F24F52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816F1A9-4AC1-4140-8AB7-D5FC0D54C35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BB988A2-2ED0-4C22-9FF7-2105700011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5C5037-7031-4C0A-ACA3-CEEBDCCED92F}" type="datetimeFigureOut">
              <a:rPr lang="de-DE" smtClean="0"/>
              <a:t>08.02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3ABF5A5-ED9C-42C8-8C66-E443346FE1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39B52CA-AF31-49E7-8F52-8FAD00F5F1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4A3569-0D3A-4796-A643-4C0C0EE1685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02551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C368A0B-4AF7-4EE1-93B1-4B49BFF55F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5C658D2C-6570-4A05-9F82-0FF2FCDCEE0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E15F11D-7352-40D8-9F4C-CCC7AE84FF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5C5037-7031-4C0A-ACA3-CEEBDCCED92F}" type="datetimeFigureOut">
              <a:rPr lang="de-DE" smtClean="0"/>
              <a:t>08.02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57F13AA-8B93-49C2-9322-FE4AAF2E91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41EAD5B-CAAC-40DD-8C22-ED46A72C4A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4A3569-0D3A-4796-A643-4C0C0EE1685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7276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18ABE3D1-BC94-45D4-A2D6-3A96371A3D1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18C7791D-880C-4404-B960-D9E8F4616C2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4FA94EE-83EF-4641-8D0C-0825956112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5C5037-7031-4C0A-ACA3-CEEBDCCED92F}" type="datetimeFigureOut">
              <a:rPr lang="de-DE" smtClean="0"/>
              <a:t>08.02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A5C2ED6-F338-4987-81E5-5D3F43AD6D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A2A78FB-5A4B-4C5E-9DA1-0D36D47AE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4A3569-0D3A-4796-A643-4C0C0EE1685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43338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4803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Footer Placeholder 6">
            <a:extLst>
              <a:ext uri="{FF2B5EF4-FFF2-40B4-BE49-F238E27FC236}">
                <a16:creationId xmlns:a16="http://schemas.microsoft.com/office/drawing/2014/main" id="{D0B82D4B-5B80-485E-A49C-1324CBD7B3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64166" y="6505200"/>
            <a:ext cx="2911090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 rtl="0">
              <a:defRPr lang="en-AU" sz="7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/>
              <a:t>Absender  |  Titel  |                       |</a:t>
            </a:r>
          </a:p>
        </p:txBody>
      </p:sp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de-DE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85869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fr-FR" dirty="0"/>
            </a:lvl1pPr>
          </a:lstStyle>
          <a:p>
            <a:pPr lvl="0"/>
            <a:r>
              <a:rPr lang="de-DE" dirty="0"/>
              <a:t>Click to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1122473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fr-FR" b="0" dirty="0"/>
            </a:lvl1pPr>
          </a:lstStyle>
          <a:p>
            <a:pPr lvl="0"/>
            <a:r>
              <a:rPr lang="de-DE" dirty="0"/>
              <a:t>Click to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subtitle</a:t>
            </a:r>
            <a:r>
              <a:rPr lang="de-DE" dirty="0"/>
              <a:t>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618613" y="6505201"/>
            <a:ext cx="207478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lvl="0" rtl="0"/>
            <a:fld id="{4ABDCABE-3F10-B64C-92F1-862014417034}" type="slidenum">
              <a:rPr lang="de-DE" sz="700" b="0" baseline="0" smtClean="0">
                <a:solidFill>
                  <a:schemeClr val="tx1"/>
                </a:solidFill>
                <a:latin typeface="+mn-lt"/>
              </a:rPr>
              <a:pPr lvl="0" rtl="0"/>
              <a:t>‹Nr.›</a:t>
            </a:fld>
            <a:endParaRPr lang="de-DE" sz="700" b="0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fr-FR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de-DE" dirty="0"/>
              <a:t>Add tracker</a:t>
            </a:r>
          </a:p>
        </p:txBody>
      </p:sp>
      <p:sp>
        <p:nvSpPr>
          <p:cNvPr id="12" name="Date Placeholder 5">
            <a:extLst>
              <a:ext uri="{FF2B5EF4-FFF2-40B4-BE49-F238E27FC236}">
                <a16:creationId xmlns:a16="http://schemas.microsoft.com/office/drawing/2014/main" id="{CC1BC20D-B0B0-4FE6-B31E-8D11C336385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51" y="6505200"/>
            <a:ext cx="420894" cy="10772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rtl="0">
              <a:defRPr lang="en-AU" sz="700" baseline="0" smtClean="0">
                <a:latin typeface="+mn-lt"/>
              </a:defRPr>
            </a:lvl1pPr>
          </a:lstStyle>
          <a:p>
            <a:pPr algn="r"/>
            <a:fld id="{8C46777E-AC28-47C7-9D9E-14D8BAAF5729}" type="datetime1">
              <a:rPr lang="de-DE" smtClean="0"/>
              <a:pPr algn="r"/>
              <a:t>08.02.2022</a:t>
            </a:fld>
            <a:endParaRPr lang="de-DE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775520" y="648981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de-DE" dirty="0"/>
              <a:t>Quelle: …</a:t>
            </a:r>
          </a:p>
        </p:txBody>
      </p:sp>
    </p:spTree>
    <p:extLst>
      <p:ext uri="{BB962C8B-B14F-4D97-AF65-F5344CB8AC3E}">
        <p14:creationId xmlns:p14="http://schemas.microsoft.com/office/powerpoint/2010/main" val="30462468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9963220-476C-4305-A2A9-BA4C45884C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65FD4B5-9AF2-4C43-8052-9E33E0A03F7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F7C914E-A456-4D81-B0A4-0AF31AD2FD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5C5037-7031-4C0A-ACA3-CEEBDCCED92F}" type="datetimeFigureOut">
              <a:rPr lang="de-DE" smtClean="0"/>
              <a:t>08.02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63B6432-AD18-4521-970C-B3FF843FDE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EBCA2A3-E1EF-4775-B45F-68319CCAAF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4A3569-0D3A-4796-A643-4C0C0EE1685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55430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EE3B5C2-DFF6-4BA4-B7D7-EC91BB5D96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3D513EB-317A-4D5A-B12C-259A55D352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FBA3D8E-0639-44BA-92F1-714AEF4B84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5C5037-7031-4C0A-ACA3-CEEBDCCED92F}" type="datetimeFigureOut">
              <a:rPr lang="de-DE" smtClean="0"/>
              <a:t>08.02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15C77E9-CF38-469E-9FD0-442E952320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EDA1F3-F3A6-4F52-9789-D227BF1813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4A3569-0D3A-4796-A643-4C0C0EE1685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31959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4CD4CD0-CC51-4ECC-A7C0-3A8D8F9A80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F506D31-F86A-4FF9-B0AE-D7FCD6D3B8B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A6CEB10-2246-4255-9076-646ACC4B677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A9F7869-8377-4D63-B4FE-C7CD9C400C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5C5037-7031-4C0A-ACA3-CEEBDCCED92F}" type="datetimeFigureOut">
              <a:rPr lang="de-DE" smtClean="0"/>
              <a:t>08.02.202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304990C-6671-4CE9-9EF2-D6C76B121B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78945D-F155-43B9-8461-3637085083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4A3569-0D3A-4796-A643-4C0C0EE1685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96640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296D9B-24FF-4AB5-B4D9-6BD13AF1A0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9551EBB-5762-4D5F-B3F5-033D62C18F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2676EBD-4A40-4DBA-8E92-A18EE2E8BEE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D649774-64F1-476A-BF1C-9B99EF091BF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B674BF57-29DA-4332-A2B4-538CA0668EA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63443F5-5FA0-4D6C-8081-A2CFC6A125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5C5037-7031-4C0A-ACA3-CEEBDCCED92F}" type="datetimeFigureOut">
              <a:rPr lang="de-DE" smtClean="0"/>
              <a:t>08.02.2022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2383CA3-4DBB-42C2-8083-60F16333C3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C5B9406-658A-44B5-A90B-C0A191D3CD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4A3569-0D3A-4796-A643-4C0C0EE1685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89458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A23902-345F-4512-AC21-01BBDE13FA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FA9704D-9B6C-49A9-88D0-532F554A48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5C5037-7031-4C0A-ACA3-CEEBDCCED92F}" type="datetimeFigureOut">
              <a:rPr lang="de-DE" smtClean="0"/>
              <a:t>08.02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B7FBEC2-C47F-4132-B008-DE317C4C74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C45BF4C-C38A-4D1D-8E87-85407C4E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4A3569-0D3A-4796-A643-4C0C0EE1685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41784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FAC66F7-BC3F-4524-B04D-195FE1EA57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5C5037-7031-4C0A-ACA3-CEEBDCCED92F}" type="datetimeFigureOut">
              <a:rPr lang="de-DE" smtClean="0"/>
              <a:t>08.02.2022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D429C8F-C97A-47E8-93BA-8705772B3B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E76BD2E-62AC-4012-9F2B-715D671ED0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4A3569-0D3A-4796-A643-4C0C0EE1685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40754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9794726-62D8-4A1B-B08C-7834E341A4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0E14DB1-461E-4902-8C70-842FE28206D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E5C76FE-45BA-4B12-82C8-69F49B3D449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BD8A8D7-ABEA-4B24-835E-F34FC81C92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5C5037-7031-4C0A-ACA3-CEEBDCCED92F}" type="datetimeFigureOut">
              <a:rPr lang="de-DE" smtClean="0"/>
              <a:t>08.02.202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3788B29-0BB4-4825-8D8B-EAFBBEBE84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729D501-07A8-4DE8-A8C1-EB4F031A6B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4A3569-0D3A-4796-A643-4C0C0EE1685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07095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6BF9FDE-3558-4016-8F93-D11BEAE882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14117121-8DCC-407A-9F54-FBB8E14B4DA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7DC909E-4F41-45FF-93BF-040D0D51A65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8D09AD3-698D-40A8-9FD0-031120E750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5C5037-7031-4C0A-ACA3-CEEBDCCED92F}" type="datetimeFigureOut">
              <a:rPr lang="de-DE" smtClean="0"/>
              <a:t>08.02.202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43E39D9-7C96-4813-837E-E41682D598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A9E490F-D5C0-4411-AC09-6E2F90C8D4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4A3569-0D3A-4796-A643-4C0C0EE1685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773115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3FA56FE-9B76-403D-90A8-6B9E40184D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CFE7210-7502-4E05-B3D4-083F19398F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46A8C32-8ABA-4E60-BD5D-9A99B75F70C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5C5037-7031-4C0A-ACA3-CEEBDCCED92F}" type="datetimeFigureOut">
              <a:rPr lang="de-DE" smtClean="0"/>
              <a:t>08.02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A6CE32-9B92-4BE1-BF73-D435784E89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10AC609-7141-4D6B-A615-56FDB814F7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4A3569-0D3A-4796-A643-4C0C0EE1685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7485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descr="Ein Bild, das Text enthält.&#10;&#10;Automatisch generierte Beschreibung">
            <a:extLst>
              <a:ext uri="{FF2B5EF4-FFF2-40B4-BE49-F238E27FC236}">
                <a16:creationId xmlns:a16="http://schemas.microsoft.com/office/drawing/2014/main" id="{A1E35B00-C2DA-C94D-875C-FE00794FA2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4735" y="1504318"/>
            <a:ext cx="1947494" cy="4216974"/>
          </a:xfrm>
          <a:prstGeom prst="rect">
            <a:avLst/>
          </a:prstGeom>
        </p:spPr>
      </p:pic>
      <p:pic>
        <p:nvPicPr>
          <p:cNvPr id="21" name="Grafik 20" descr="Ein Bild, das Text enthält.&#10;&#10;Automatisch generierte Beschreibung">
            <a:extLst>
              <a:ext uri="{FF2B5EF4-FFF2-40B4-BE49-F238E27FC236}">
                <a16:creationId xmlns:a16="http://schemas.microsoft.com/office/drawing/2014/main" id="{208ABE23-EFCF-6F48-8231-21EC96B4DB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96836" y="1504319"/>
            <a:ext cx="1947494" cy="4216974"/>
          </a:xfrm>
          <a:prstGeom prst="rect">
            <a:avLst/>
          </a:prstGeom>
        </p:spPr>
      </p:pic>
      <p:pic>
        <p:nvPicPr>
          <p:cNvPr id="23" name="Grafik 22" descr="Ein Bild, das Text enthält.&#10;&#10;Automatisch generierte Beschreibung">
            <a:extLst>
              <a:ext uri="{FF2B5EF4-FFF2-40B4-BE49-F238E27FC236}">
                <a16:creationId xmlns:a16="http://schemas.microsoft.com/office/drawing/2014/main" id="{242BDF85-69E4-0A4C-B15B-FCC2102CFB5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68699" y="1520320"/>
            <a:ext cx="1947494" cy="4216974"/>
          </a:xfrm>
          <a:prstGeom prst="rect">
            <a:avLst/>
          </a:prstGeom>
        </p:spPr>
      </p:pic>
      <p:sp>
        <p:nvSpPr>
          <p:cNvPr id="24" name="Textfeld 23">
            <a:extLst>
              <a:ext uri="{FF2B5EF4-FFF2-40B4-BE49-F238E27FC236}">
                <a16:creationId xmlns:a16="http://schemas.microsoft.com/office/drawing/2014/main" id="{2F3BEF12-D5E2-2B42-8E57-FB2E19D00690}"/>
              </a:ext>
            </a:extLst>
          </p:cNvPr>
          <p:cNvSpPr txBox="1"/>
          <p:nvPr/>
        </p:nvSpPr>
        <p:spPr>
          <a:xfrm>
            <a:off x="554735" y="968297"/>
            <a:ext cx="1995074" cy="4461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t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de-DE" sz="1400" b="1" i="1" dirty="0"/>
              <a:t>&lt; Stufe 0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249CB460-248D-5C42-BFE4-0A6245AC48CC}"/>
              </a:ext>
            </a:extLst>
          </p:cNvPr>
          <p:cNvSpPr txBox="1"/>
          <p:nvPr/>
        </p:nvSpPr>
        <p:spPr>
          <a:xfrm>
            <a:off x="2974534" y="968297"/>
            <a:ext cx="1995074" cy="4461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t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de-DE" sz="1400" b="1" i="1" dirty="0"/>
              <a:t>Stufe 0</a:t>
            </a:r>
          </a:p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de-DE" sz="1100" i="1" dirty="0"/>
              <a:t>Default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656A6158-316A-8542-9F00-14A9AA7B3332}"/>
              </a:ext>
            </a:extLst>
          </p:cNvPr>
          <p:cNvSpPr txBox="1"/>
          <p:nvPr/>
        </p:nvSpPr>
        <p:spPr>
          <a:xfrm>
            <a:off x="7492336" y="968297"/>
            <a:ext cx="1995074" cy="4461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t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de-DE" sz="1400" b="1" i="1" dirty="0"/>
              <a:t>Stufe 1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3623F63F-AC2B-9A44-9F76-695FE867364D}"/>
              </a:ext>
            </a:extLst>
          </p:cNvPr>
          <p:cNvSpPr txBox="1"/>
          <p:nvPr/>
        </p:nvSpPr>
        <p:spPr>
          <a:xfrm>
            <a:off x="9773199" y="968296"/>
            <a:ext cx="1995074" cy="41483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t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de-DE" sz="1400" b="1" i="1" dirty="0"/>
              <a:t>Stufe 2 </a:t>
            </a:r>
          </a:p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de-DE" sz="1100" i="1" dirty="0"/>
              <a:t>(Ausbaustufe)</a:t>
            </a:r>
          </a:p>
        </p:txBody>
      </p:sp>
      <p:pic>
        <p:nvPicPr>
          <p:cNvPr id="32" name="Grafik 31" descr="Ein Bild, das Text enthält.&#10;&#10;Automatisch generierte Beschreibung">
            <a:extLst>
              <a:ext uri="{FF2B5EF4-FFF2-40B4-BE49-F238E27FC236}">
                <a16:creationId xmlns:a16="http://schemas.microsoft.com/office/drawing/2014/main" id="{3B0D3368-03FF-D240-9837-3CCDA8DF95E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74534" y="1504317"/>
            <a:ext cx="1947494" cy="4216974"/>
          </a:xfrm>
          <a:prstGeom prst="rect">
            <a:avLst/>
          </a:prstGeom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C6323287-B2FA-496E-902A-90423AD30917}"/>
              </a:ext>
            </a:extLst>
          </p:cNvPr>
          <p:cNvSpPr txBox="1"/>
          <p:nvPr/>
        </p:nvSpPr>
        <p:spPr>
          <a:xfrm>
            <a:off x="5072537" y="968297"/>
            <a:ext cx="1995074" cy="4461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 anchor="t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de-DE" sz="1400" b="1" i="1" dirty="0"/>
              <a:t> </a:t>
            </a:r>
          </a:p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de-DE" sz="1100" i="1" dirty="0"/>
              <a:t>mit hinterlegter Ausnahme</a:t>
            </a:r>
          </a:p>
        </p:txBody>
      </p:sp>
      <p:pic>
        <p:nvPicPr>
          <p:cNvPr id="19" name="Grafik 18" descr="Ein Bild, das Text enthält.&#10;&#10;Automatisch generierte Beschreibung">
            <a:extLst>
              <a:ext uri="{FF2B5EF4-FFF2-40B4-BE49-F238E27FC236}">
                <a16:creationId xmlns:a16="http://schemas.microsoft.com/office/drawing/2014/main" id="{19D1ED4D-553D-438C-B5C4-17D81F526FB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73211" y="1504317"/>
            <a:ext cx="1947495" cy="4216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70031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7</Words>
  <Application>Microsoft Office PowerPoint</Application>
  <PresentationFormat>Breitbild</PresentationFormat>
  <Paragraphs>8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Segoe UI</vt:lpstr>
      <vt:lpstr>Office</vt:lpstr>
      <vt:lpstr>think-cell Slide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Weidenbach, Sebastian - esatus AG</dc:creator>
  <cp:lastModifiedBy>Weidenbach, Sebastian - esatus AG</cp:lastModifiedBy>
  <cp:revision>1</cp:revision>
  <dcterms:created xsi:type="dcterms:W3CDTF">2022-02-08T10:17:16Z</dcterms:created>
  <dcterms:modified xsi:type="dcterms:W3CDTF">2022-02-08T10:17:53Z</dcterms:modified>
</cp:coreProperties>
</file>